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1" r:id="rId5"/>
    <p:sldMasterId id="2147483684" r:id="rId6"/>
  </p:sldMasterIdLst>
  <p:notesMasterIdLst>
    <p:notesMasterId r:id="rId20"/>
  </p:notesMasterIdLst>
  <p:sldIdLst>
    <p:sldId id="1934" r:id="rId7"/>
    <p:sldId id="1952" r:id="rId8"/>
    <p:sldId id="1946" r:id="rId9"/>
    <p:sldId id="1945" r:id="rId10"/>
    <p:sldId id="1948" r:id="rId11"/>
    <p:sldId id="1949" r:id="rId12"/>
    <p:sldId id="1947" r:id="rId13"/>
    <p:sldId id="1943" r:id="rId14"/>
    <p:sldId id="1944" r:id="rId15"/>
    <p:sldId id="1954" r:id="rId16"/>
    <p:sldId id="1953" r:id="rId17"/>
    <p:sldId id="1938" r:id="rId18"/>
    <p:sldId id="1939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03" autoAdjust="0"/>
    <p:restoredTop sz="94660"/>
  </p:normalViewPr>
  <p:slideViewPr>
    <p:cSldViewPr snapToGrid="0">
      <p:cViewPr varScale="1">
        <p:scale>
          <a:sx n="99" d="100"/>
          <a:sy n="99" d="100"/>
        </p:scale>
        <p:origin x="17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3" d="100"/>
          <a:sy n="53" d="100"/>
        </p:scale>
        <p:origin x="2844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son, Kevin" userId="e60c6aad-8614-4884-8dc2-e8f78e5022b5" providerId="ADAL" clId="{5091E5D3-2CED-4DB6-8B2D-910FAD76411F}"/>
    <pc:docChg chg="custSel modSld">
      <pc:chgData name="Hanson, Kevin" userId="e60c6aad-8614-4884-8dc2-e8f78e5022b5" providerId="ADAL" clId="{5091E5D3-2CED-4DB6-8B2D-910FAD76411F}" dt="2021-07-09T16:06:01.892" v="1" actId="20577"/>
      <pc:docMkLst>
        <pc:docMk/>
      </pc:docMkLst>
      <pc:sldChg chg="modSp">
        <pc:chgData name="Hanson, Kevin" userId="e60c6aad-8614-4884-8dc2-e8f78e5022b5" providerId="ADAL" clId="{5091E5D3-2CED-4DB6-8B2D-910FAD76411F}" dt="2021-07-09T16:06:01.892" v="1" actId="20577"/>
        <pc:sldMkLst>
          <pc:docMk/>
          <pc:sldMk cId="2478347725" sldId="1939"/>
        </pc:sldMkLst>
        <pc:spChg chg="mod">
          <ac:chgData name="Hanson, Kevin" userId="e60c6aad-8614-4884-8dc2-e8f78e5022b5" providerId="ADAL" clId="{5091E5D3-2CED-4DB6-8B2D-910FAD76411F}" dt="2021-07-09T16:06:01.892" v="1" actId="20577"/>
          <ac:spMkLst>
            <pc:docMk/>
            <pc:sldMk cId="2478347725" sldId="1939"/>
            <ac:spMk id="2" creationId="{F6F818F3-0488-4633-B69C-D5A758E6C7A1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EA9419-6E8D-4127-B11E-BEB5726C661F}" type="datetimeFigureOut">
              <a:rPr lang="en-US" smtClean="0"/>
              <a:t>7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A62F87-9FF5-4D25-BCD1-3F6726F985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7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  <a:endParaRPr lang="fr-FR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684297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5" y="1424518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444387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3098736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8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43891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70" y="277365"/>
            <a:ext cx="1537609" cy="6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90262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80962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5188816" y="2"/>
            <a:ext cx="6613725" cy="3306863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auto">
          <a:xfrm>
            <a:off x="3039545" y="3550800"/>
            <a:ext cx="6614400" cy="33072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6461380" y="2468831"/>
            <a:ext cx="1920000" cy="192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867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6345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auto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84599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auto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3170" y="277363"/>
            <a:ext cx="2315292" cy="68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80573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89676656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8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2993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03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3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40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US Offshore Wind - 24 June 2019</a:t>
            </a:r>
            <a:endParaRPr lang="fr-FR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12389468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gener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4132615" y="-12668"/>
            <a:ext cx="8074880" cy="687730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12275236" y="2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23011370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48C6DC-682E-4721-829A-31576897B29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Rectangle 5">
            <a:extLst/>
          </p:cNvPr>
          <p:cNvSpPr/>
          <p:nvPr userDrawn="1"/>
        </p:nvSpPr>
        <p:spPr bwMode="auto">
          <a:xfrm>
            <a:off x="3156970" y="31043"/>
            <a:ext cx="5879548" cy="259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1400" dirty="0">
                <a:solidFill>
                  <a:srgbClr val="000000"/>
                </a:solidFill>
                <a:cs typeface="Arial"/>
              </a:rPr>
              <a:t>Confidential </a:t>
            </a:r>
            <a:r>
              <a:rPr lang="en-GB" sz="1400" b="0" i="1" dirty="0">
                <a:solidFill>
                  <a:srgbClr val="000000"/>
                </a:solidFill>
                <a:cs typeface="Arial"/>
              </a:rPr>
              <a:t>(NGET &amp; Ofgem)</a:t>
            </a:r>
            <a:endParaRPr lang="en-GB" sz="1800" b="0" i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861101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71355" y="141120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0296C7D-4998-43C3-A68E-A9F4AFC7DB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79084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D11B3BD-BF31-4BBD-BF46-6431C9CDC5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000" y="1411201"/>
            <a:ext cx="3456000" cy="1877437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28C172-F8CF-46F7-804C-835BAF38DD6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3" name="Rectangle 12">
            <a:extLst/>
          </p:cNvPr>
          <p:cNvSpPr/>
          <p:nvPr userDrawn="1"/>
        </p:nvSpPr>
        <p:spPr bwMode="auto">
          <a:xfrm>
            <a:off x="3156970" y="31043"/>
            <a:ext cx="5879548" cy="259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450"/>
              </a:spcAft>
            </a:pPr>
            <a:r>
              <a:rPr lang="en-GB" sz="1400" dirty="0">
                <a:solidFill>
                  <a:srgbClr val="000000"/>
                </a:solidFill>
                <a:cs typeface="Arial"/>
              </a:rPr>
              <a:t>Confidential </a:t>
            </a:r>
            <a:r>
              <a:rPr lang="en-GB" sz="1400" b="0" i="1" dirty="0">
                <a:solidFill>
                  <a:srgbClr val="000000"/>
                </a:solidFill>
                <a:cs typeface="Arial"/>
              </a:rPr>
              <a:t>(NGET &amp; Ofgem)</a:t>
            </a:r>
            <a:endParaRPr lang="en-GB" sz="1800" b="0" i="1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94214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5734" y="1411289"/>
            <a:ext cx="7247465" cy="188477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8480D57-B2D8-4496-806A-1824358683A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317572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576000" y="1411200"/>
            <a:ext cx="11040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D600AF-67DA-4103-ADCF-D04CEE1258D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1" name="Guidance note">
            <a:extLst>
              <a:ext uri="{FF2B5EF4-FFF2-40B4-BE49-F238E27FC236}">
                <a16:creationId xmlns:a16="http://schemas.microsoft.com/office/drawing/2014/main" id="{E500F763-0BC0-4580-A71D-6F0F9287C7D7}"/>
              </a:ext>
            </a:extLst>
          </p:cNvPr>
          <p:cNvSpPr/>
          <p:nvPr userDrawn="1"/>
        </p:nvSpPr>
        <p:spPr>
          <a:xfrm>
            <a:off x="12275233" y="48037"/>
            <a:ext cx="2706315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96496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5F86E-6E6F-45E1-A5F2-EB103742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5" name="Group 34"/>
          <p:cNvGrpSpPr/>
          <p:nvPr userDrawn="1"/>
        </p:nvGrpSpPr>
        <p:grpSpPr>
          <a:xfrm>
            <a:off x="568761" y="6133626"/>
            <a:ext cx="2188087" cy="401519"/>
            <a:chOff x="2910342" y="325575"/>
            <a:chExt cx="5928968" cy="1249653"/>
          </a:xfrm>
        </p:grpSpPr>
        <p:sp>
          <p:nvSpPr>
            <p:cNvPr id="36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9869150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0" name="Graphic 29">
            <a:extLst>
              <a:ext uri="{FF2B5EF4-FFF2-40B4-BE49-F238E27FC236}">
                <a16:creationId xmlns:a16="http://schemas.microsoft.com/office/drawing/2014/main" id="{8FC637FA-B805-44DF-B633-71443FECF1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66293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549568EC-7896-49C6-B633-53DD65837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6" name="Group 35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8" name="Freeform: Shape 3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62" name="Graphic 61">
            <a:extLst>
              <a:ext uri="{FF2B5EF4-FFF2-40B4-BE49-F238E27FC236}">
                <a16:creationId xmlns:a16="http://schemas.microsoft.com/office/drawing/2014/main" id="{C72F7E97-1443-4A2B-A03E-9D78C5DD4B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87F5CE5A-52B7-48EE-90F8-13ED9583F3B7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64530392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D9830BC-D2EF-4C82-9C84-9290ADDEF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29" name="Round Diagonal Corner Rectangle 4">
            <a:extLst>
              <a:ext uri="{FF2B5EF4-FFF2-40B4-BE49-F238E27FC236}">
                <a16:creationId xmlns:a16="http://schemas.microsoft.com/office/drawing/2014/main" id="{CEC8B8EF-BA1E-473C-9371-5D822E3B1243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7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81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6817" y="2571750"/>
            <a:ext cx="5231896" cy="55399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6875377" y="0"/>
            <a:ext cx="5316625" cy="332740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4004872" y="3530262"/>
            <a:ext cx="8187128" cy="3327739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8584927" y="2452280"/>
            <a:ext cx="2596800" cy="19476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CA4E558A-A36F-41DB-9D1C-8A9CE926E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19" y="1417313"/>
            <a:ext cx="5270000" cy="369332"/>
          </a:xfrm>
        </p:spPr>
        <p:txBody>
          <a:bodyPr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8" name="Group 3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39" name="Freeform: Shape 3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5" name="Freeform: Shape 44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29" name="Graphic 28">
            <a:extLst>
              <a:ext uri="{FF2B5EF4-FFF2-40B4-BE49-F238E27FC236}">
                <a16:creationId xmlns:a16="http://schemas.microsoft.com/office/drawing/2014/main" id="{059473A8-6883-41A4-A23D-DD1B1D5F50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30" name="Round Diagonal Corner Rectangle 4">
            <a:extLst>
              <a:ext uri="{FF2B5EF4-FFF2-40B4-BE49-F238E27FC236}">
                <a16:creationId xmlns:a16="http://schemas.microsoft.com/office/drawing/2014/main" id="{57E0544E-0101-471C-ACC7-BD597E5BCFAE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49536089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  <a:endParaRPr lang="fr-F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7"/>
            <a:ext cx="7392828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2484339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7" name="Freeform: Shape 26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8" name="Freeform: Shape 2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F9165663-BF58-46EF-B3DC-0074C1C16B3C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022064500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CDB012FC-6F5E-4773-A9A9-508871AE11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4682134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87724E65-2B53-4366-B770-73083FC3AD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1" y="303495"/>
            <a:ext cx="2625724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8CEA045E-A87B-4469-A789-0B95D1052D03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1567419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9" name="Freeform: Shape 28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11A5033A-EBCF-4E8C-B1A9-EE8B023E8BCD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71" y="357188"/>
            <a:ext cx="2351667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3713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1107" y="3044280"/>
            <a:ext cx="5255711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307" y="1052527"/>
            <a:ext cx="3464989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403600" y="6368"/>
            <a:ext cx="6788400" cy="6851632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568761" y="6133626"/>
            <a:ext cx="2540000" cy="401519"/>
            <a:chOff x="2910342" y="325575"/>
            <a:chExt cx="5928968" cy="1249653"/>
          </a:xfrm>
        </p:grpSpPr>
        <p:sp>
          <p:nvSpPr>
            <p:cNvPr id="28" name="Freeform: Shape 27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2" name="Freeform: Shape 31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8" name="Freeform: Shape 6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  <p:pic>
        <p:nvPicPr>
          <p:cNvPr id="39" name="Graphic 38">
            <a:extLst>
              <a:ext uri="{FF2B5EF4-FFF2-40B4-BE49-F238E27FC236}">
                <a16:creationId xmlns:a16="http://schemas.microsoft.com/office/drawing/2014/main" id="{A3532B68-E55F-4BD0-A158-E8EF4BE55C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4230" y="303495"/>
            <a:ext cx="1743772" cy="582935"/>
          </a:xfrm>
          <a:prstGeom prst="rect">
            <a:avLst/>
          </a:prstGeom>
        </p:spPr>
      </p:pic>
      <p:sp>
        <p:nvSpPr>
          <p:cNvPr id="40" name="Round Diagonal Corner Rectangle 4">
            <a:extLst>
              <a:ext uri="{FF2B5EF4-FFF2-40B4-BE49-F238E27FC236}">
                <a16:creationId xmlns:a16="http://schemas.microsoft.com/office/drawing/2014/main" id="{D3A1E4EA-0077-42A5-956F-3A4718FA49A8}"/>
              </a:ext>
            </a:extLst>
          </p:cNvPr>
          <p:cNvSpPr/>
          <p:nvPr userDrawn="1"/>
        </p:nvSpPr>
        <p:spPr>
          <a:xfrm>
            <a:off x="12275234" y="0"/>
            <a:ext cx="2707513" cy="1931758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88" marR="0" lvl="2" indent="-904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33148212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806700" y="2909034"/>
            <a:ext cx="6578600" cy="1039932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082590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  <a:endParaRPr lang="fr-FR" dirty="0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53450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94736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 heading</a:t>
            </a:r>
            <a:endParaRPr lang="en-GB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55454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 dirty="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2677495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A2E84-FF65-45D0-93C2-019D4F5884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7BA243-DD64-48EF-9275-08FF1A1EAA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0374" y="1411818"/>
            <a:ext cx="11331253" cy="25029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28E364-946A-4B62-886C-FF6FF22642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</p:spTree>
    <p:extLst>
      <p:ext uri="{BB962C8B-B14F-4D97-AF65-F5344CB8AC3E}">
        <p14:creationId xmlns:p14="http://schemas.microsoft.com/office/powerpoint/2010/main" val="232775388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Project Impact updat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59123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7.emf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FB5E17-00EB-47B0-8725-FCF93154B6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33924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FB5E17-00EB-47B0-8725-FCF93154B6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650C678-CC1E-4A33-8D35-4F9A3F5CAF03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Heading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 dirty="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fr-FR" sz="1467" b="1" dirty="0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831940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83100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22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2" y="6320503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18" algn="l"/>
              </a:tabLst>
            </a:pPr>
            <a:r>
              <a:rPr lang="fr-FR"/>
              <a:t>| [</a:t>
            </a:r>
            <a:r>
              <a:rPr lang="fr-FR" err="1"/>
              <a:t>Title</a:t>
            </a:r>
            <a:r>
              <a:rPr lang="fr-FR"/>
              <a:t>] | [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9003146" y="73895"/>
            <a:ext cx="2757054" cy="6234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>
              <a:spcAft>
                <a:spcPts val="450"/>
              </a:spcAft>
            </a:pPr>
            <a:r>
              <a:rPr lang="en-GB" sz="1400" b="1">
                <a:solidFill>
                  <a:schemeClr val="accent3"/>
                </a:solidFill>
                <a:latin typeface="+mn-lt"/>
                <a:cs typeface="Arial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738165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1800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1800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1800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1800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1800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18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D45D99-0530-408C-BB02-97D90970DD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D45D99-0530-408C-BB02-97D90970D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3888537-1184-4B64-A5BE-E3FFC802DBB6}"/>
              </a:ext>
            </a:extLst>
          </p:cNvPr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0"/>
              </a:spcAft>
            </a:pPr>
            <a:endParaRPr lang="en-US" sz="2400" b="1" i="0" baseline="0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75735" y="361387"/>
            <a:ext cx="110405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735" y="1412481"/>
            <a:ext cx="11040533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0896852" y="6352054"/>
            <a:ext cx="7123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00" smtClean="0">
                <a:solidFill>
                  <a:schemeClr val="accent1"/>
                </a:solidFill>
              </a:rPr>
              <a:pPr/>
              <a:t>‹#›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1811" y="6352054"/>
            <a:ext cx="8730140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9013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 userDrawn="1"/>
        </p:nvSpPr>
        <p:spPr>
          <a:xfrm>
            <a:off x="575734" y="6352054"/>
            <a:ext cx="1216077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9013" algn="l"/>
              </a:tabLst>
            </a:pPr>
            <a:r>
              <a:rPr lang="fr-FR" sz="1100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074098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7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464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7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4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10000" indent="-270000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8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6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40000" indent="-18000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689">
          <p15:clr>
            <a:srgbClr val="F26B43"/>
          </p15:clr>
        </p15:guide>
        <p15:guide id="4" pos="7317">
          <p15:clr>
            <a:srgbClr val="F26B43"/>
          </p15:clr>
        </p15:guide>
        <p15:guide id="6" orient="horz" pos="3793">
          <p15:clr>
            <a:srgbClr val="F26B43"/>
          </p15:clr>
        </p15:guide>
        <p15:guide id="8" pos="363">
          <p15:clr>
            <a:srgbClr val="F26B43"/>
          </p15:clr>
        </p15:guide>
        <p15:guide id="13" pos="3991">
          <p15:clr>
            <a:srgbClr val="F26B43"/>
          </p15:clr>
        </p15:guide>
        <p15:guide id="14" orient="horz" pos="414">
          <p15:clr>
            <a:srgbClr val="F26B43"/>
          </p15:clr>
        </p15:guide>
        <p15:guide id="15" orient="horz" pos="889">
          <p15:clr>
            <a:srgbClr val="F26B43"/>
          </p15:clr>
        </p15:guide>
        <p15:guide id="16" pos="2752">
          <p15:clr>
            <a:srgbClr val="F26B43"/>
          </p15:clr>
        </p15:guide>
        <p15:guide id="17" pos="5140">
          <p15:clr>
            <a:srgbClr val="F26B43"/>
          </p15:clr>
        </p15:guide>
        <p15:guide id="18" pos="4928">
          <p15:clr>
            <a:srgbClr val="F26B43"/>
          </p15:clr>
        </p15:guide>
        <p15:guide id="19" pos="2540">
          <p15:clr>
            <a:srgbClr val="F26B43"/>
          </p15:clr>
        </p15:guide>
        <p15:guide id="20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D45AD27-21E5-40F3-A091-F6B24EBCD7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554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D45AD27-21E5-40F3-A091-F6B24EBCD7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D99E379-FB92-4811-B586-1CDFD89FD3E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50"/>
              </a:spcAft>
            </a:pPr>
            <a:endParaRPr lang="en-US" sz="2800" b="1" dirty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6268D1-38FA-4247-9673-30691D60B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0" y="1082040"/>
            <a:ext cx="8025559" cy="1487163"/>
          </a:xfrm>
        </p:spPr>
        <p:txBody>
          <a:bodyPr/>
          <a:lstStyle/>
          <a:p>
            <a:r>
              <a:rPr lang="en-US" sz="4000" dirty="0"/>
              <a:t>Lessons from MISO and other ideas</a:t>
            </a:r>
            <a:br>
              <a:rPr lang="en-US" sz="4000" dirty="0"/>
            </a:br>
            <a:br>
              <a:rPr lang="en-US" sz="4000" dirty="0"/>
            </a:br>
            <a:r>
              <a:rPr lang="en-US" sz="2800" dirty="0"/>
              <a:t>Planning Working Group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D185FB-353B-40E0-B66C-E9EE917C04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0260" y="3490260"/>
            <a:ext cx="5378452" cy="1846659"/>
          </a:xfrm>
        </p:spPr>
        <p:txBody>
          <a:bodyPr/>
          <a:lstStyle/>
          <a:p>
            <a:r>
              <a:rPr lang="en-US" dirty="0"/>
              <a:t>July 20, 2021</a:t>
            </a:r>
          </a:p>
          <a:p>
            <a:endParaRPr lang="en-US" dirty="0"/>
          </a:p>
          <a:p>
            <a:r>
              <a:rPr lang="en-US" dirty="0"/>
              <a:t>Kevin Hanson</a:t>
            </a:r>
          </a:p>
          <a:p>
            <a:r>
              <a:rPr lang="en-US" i="1" dirty="0"/>
              <a:t>Principal Analys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36494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538FB1-119A-4CDD-86CB-ABD34748FB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0259" y="3382038"/>
            <a:ext cx="3365500" cy="1969963"/>
          </a:xfrm>
        </p:spPr>
        <p:txBody>
          <a:bodyPr/>
          <a:lstStyle/>
          <a:p>
            <a:r>
              <a:rPr lang="en-US" dirty="0"/>
              <a:t>Proposed Planning Cas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AAE06A-E44F-4146-A447-2D56067B9B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7597D3-A832-4741-9A40-55D5BF465C6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597150" y="6319838"/>
            <a:ext cx="9594850" cy="227012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| US Offshore Wind - 24 Jun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198668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3CFD4-6CF6-4195-94C1-0F5D0AE71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Planning Cas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903BA2-AEC2-47B8-AA53-0CF4C7E9BA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729" y="1057618"/>
            <a:ext cx="11046609" cy="5016694"/>
          </a:xfrm>
        </p:spPr>
        <p:txBody>
          <a:bodyPr/>
          <a:lstStyle/>
          <a:p>
            <a:pPr marL="457200" indent="-457200">
              <a:buAutoNum type="arabicParenR"/>
            </a:pPr>
            <a:r>
              <a:rPr lang="en-US" sz="1600" dirty="0"/>
              <a:t>Extreme Winter: Average 10 degrees state wide at 7 am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Dallas would be at 5 degrees and Houston would be at 15 degrees 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Solar at 0% capacity factor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Wind at 10% capacity factor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30 GWs of natural gas on outage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10 GWS of coal generation on outages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DC Ties have no import or export capability</a:t>
            </a:r>
          </a:p>
          <a:p>
            <a:pPr marL="457200" indent="-457200">
              <a:buFontTx/>
              <a:buAutoNum type="arabicParenR"/>
            </a:pPr>
            <a:r>
              <a:rPr lang="en-US" sz="1600" dirty="0"/>
              <a:t>Extreme Summer: Average 110 degrees state wide at 5 pm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Dallas would be at 115 degrees and Houston would be at 105 degrees 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Solar at 80% capacity factor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Wind at 10% capacity factor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30 GWs of natural gas on outage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10 GWS of coal generation on outages</a:t>
            </a:r>
          </a:p>
          <a:p>
            <a:pPr marL="817191" lvl="2" indent="-457200">
              <a:spcAft>
                <a:spcPts val="800"/>
              </a:spcAft>
              <a:buFont typeface="+mj-lt"/>
              <a:buAutoNum type="alphaLcParenR"/>
            </a:pPr>
            <a:r>
              <a:rPr lang="en-US" sz="1400" dirty="0"/>
              <a:t>DC Ties have no import or export capability</a:t>
            </a:r>
          </a:p>
          <a:p>
            <a:pPr marL="457200" indent="-457200">
              <a:buAutoNum type="arabicParenR"/>
            </a:pPr>
            <a:endParaRPr lang="en-US" sz="1733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8B5EF2-1AB5-4584-82A9-BB9707F3D6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PLWG July 20, 2021</a:t>
            </a:r>
          </a:p>
        </p:txBody>
      </p:sp>
    </p:spTree>
    <p:extLst>
      <p:ext uri="{BB962C8B-B14F-4D97-AF65-F5344CB8AC3E}">
        <p14:creationId xmlns:p14="http://schemas.microsoft.com/office/powerpoint/2010/main" val="340328600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5152EB-5A91-4FA8-8F9D-2CFF3F5A826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597150" y="6319838"/>
            <a:ext cx="9594850" cy="227012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| US Offshore Wind - 24 Jun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6404507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6F818F3-0488-4633-B69C-D5A758E6C7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 dirty="0"/>
              <a:t>| PLWG July 20, 202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3F50E54-2A65-427E-9654-EC9715669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escription of Initial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614A4C-E0C3-4663-8329-49198A6AA48F}"/>
              </a:ext>
            </a:extLst>
          </p:cNvPr>
          <p:cNvSpPr/>
          <p:nvPr/>
        </p:nvSpPr>
        <p:spPr>
          <a:xfrm>
            <a:off x="576882" y="1259175"/>
            <a:ext cx="11036808" cy="2908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RARF  - Resource Asset Registration Form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RIOO – Resource Integration &amp; On-going Operations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CDR – Capacity, Demand, and Reserves Report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SARA – Seasonal Assessment of Resource Adequacy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HSL – High Sustained Limit</a:t>
            </a:r>
          </a:p>
          <a:p>
            <a:pPr marL="342900" marR="0" lvl="0" indent="-342900"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GB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LSL – Low Sustained Limit</a:t>
            </a:r>
          </a:p>
        </p:txBody>
      </p:sp>
    </p:spTree>
    <p:extLst>
      <p:ext uri="{BB962C8B-B14F-4D97-AF65-F5344CB8AC3E}">
        <p14:creationId xmlns:p14="http://schemas.microsoft.com/office/powerpoint/2010/main" val="247834772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3CFD4-6CF6-4195-94C1-0F5D0AE71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o we need to do something? Weather is getting more volatile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903BA2-AEC2-47B8-AA53-0CF4C7E9BA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728" y="1411818"/>
            <a:ext cx="2549471" cy="4216539"/>
          </a:xfrm>
        </p:spPr>
        <p:txBody>
          <a:bodyPr/>
          <a:lstStyle/>
          <a:p>
            <a:r>
              <a:rPr lang="en-US" sz="1800" dirty="0"/>
              <a:t>In ERCOT, we have had:</a:t>
            </a:r>
          </a:p>
          <a:p>
            <a:pPr marL="457200" indent="-457200">
              <a:buAutoNum type="arabicParenR"/>
            </a:pPr>
            <a:r>
              <a:rPr lang="en-US" sz="1800" dirty="0"/>
              <a:t>2011 (summer was 1 in 100 event),</a:t>
            </a:r>
          </a:p>
          <a:p>
            <a:pPr marL="457200" indent="-457200">
              <a:buAutoNum type="arabicParenR"/>
            </a:pPr>
            <a:r>
              <a:rPr lang="en-US" sz="1800" dirty="0"/>
              <a:t>Three separate 500 year storms in the past 5 years (e.g. Harvey),</a:t>
            </a:r>
          </a:p>
          <a:p>
            <a:pPr marL="457200" indent="-457200">
              <a:buAutoNum type="arabicParenR"/>
            </a:pPr>
            <a:r>
              <a:rPr lang="en-US" sz="1800" dirty="0"/>
              <a:t>Uri which is somewhere between a 30 year (1989 to 2021) or a 100 year stor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8B5EF2-1AB5-4584-82A9-BB9707F3D6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PLWG July 20,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485927-A177-4BF2-8B1C-A185EE0C6D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7562" y="1305502"/>
            <a:ext cx="8562560" cy="481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2704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538FB1-119A-4CDD-86CB-ABD34748FB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0259" y="3382038"/>
            <a:ext cx="3365500" cy="1313308"/>
          </a:xfrm>
        </p:spPr>
        <p:txBody>
          <a:bodyPr/>
          <a:lstStyle/>
          <a:p>
            <a:r>
              <a:rPr lang="en-US" dirty="0"/>
              <a:t>Examples for MIS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AAE06A-E44F-4146-A447-2D56067B9B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7597D3-A832-4741-9A40-55D5BF465C6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597150" y="6319838"/>
            <a:ext cx="9594850" cy="227012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| US Offshore Wind - 24 Jun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295496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3CFD4-6CF6-4195-94C1-0F5D0AE71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Midwest ISO has done to improve the planning proces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903BA2-AEC2-47B8-AA53-0CF4C7E9BA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729" y="1411818"/>
            <a:ext cx="2053526" cy="2975173"/>
          </a:xfrm>
        </p:spPr>
        <p:txBody>
          <a:bodyPr/>
          <a:lstStyle/>
          <a:p>
            <a:pPr marL="457200" indent="-457200">
              <a:buAutoNum type="arabicParenR"/>
            </a:pPr>
            <a:r>
              <a:rPr lang="en-US" sz="2000" dirty="0"/>
              <a:t>Gas Studies</a:t>
            </a:r>
          </a:p>
          <a:p>
            <a:pPr marL="457200" indent="-457200">
              <a:buAutoNum type="arabicParenR"/>
            </a:pPr>
            <a:r>
              <a:rPr lang="en-US" sz="2000" dirty="0"/>
              <a:t>Added gas models into their planning process (</a:t>
            </a:r>
            <a:r>
              <a:rPr lang="en-US" sz="2000" dirty="0" err="1"/>
              <a:t>Plexos</a:t>
            </a:r>
            <a:r>
              <a:rPr lang="en-US" sz="2000" dirty="0"/>
              <a:t> and GPCM gas models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8B5EF2-1AB5-4584-82A9-BB9707F3D6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PLWG July 20, 202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ADA1BA-BD73-474E-8D25-03D7ED9897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2248" y="1025366"/>
            <a:ext cx="9317952" cy="520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29465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3CFD4-6CF6-4195-94C1-0F5D0AE71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Midwest ISO has done to improve the planning proces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903BA2-AEC2-47B8-AA53-0CF4C7E9BA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729" y="1411818"/>
            <a:ext cx="2053526" cy="3590727"/>
          </a:xfrm>
        </p:spPr>
        <p:txBody>
          <a:bodyPr/>
          <a:lstStyle/>
          <a:p>
            <a:pPr marL="457200" indent="-457200">
              <a:buAutoNum type="arabicParenR"/>
            </a:pPr>
            <a:r>
              <a:rPr lang="en-US" sz="2000" dirty="0"/>
              <a:t>Investigating pipeline contingency events</a:t>
            </a:r>
          </a:p>
          <a:p>
            <a:pPr marL="457200" indent="-457200">
              <a:buAutoNum type="arabicParenR"/>
            </a:pPr>
            <a:r>
              <a:rPr lang="en-US" sz="2000" dirty="0"/>
              <a:t>Support ongoing work at other agencies looking at Gas-Electric Ris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8B5EF2-1AB5-4584-82A9-BB9707F3D6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PLWG July 20,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263F48-1CF3-4CD8-8364-43A3715C0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7255" y="931281"/>
            <a:ext cx="9636847" cy="5319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5064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3CFD4-6CF6-4195-94C1-0F5D0AE71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s MISO has done to improve the non-planning proces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903BA2-AEC2-47B8-AA53-0CF4C7E9BA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3728" y="1411818"/>
            <a:ext cx="11046609" cy="4514056"/>
          </a:xfrm>
        </p:spPr>
        <p:txBody>
          <a:bodyPr/>
          <a:lstStyle/>
          <a:p>
            <a:pPr marL="457200" indent="-457200">
              <a:buAutoNum type="arabicParenR"/>
            </a:pPr>
            <a:r>
              <a:rPr lang="en-US" sz="2000" dirty="0"/>
              <a:t>MISO has improved communication &amp; situational awareness around pipeline activities and impacts to generators</a:t>
            </a:r>
          </a:p>
          <a:p>
            <a:pPr marL="457200" indent="-457200">
              <a:buAutoNum type="arabicParenR"/>
            </a:pPr>
            <a:r>
              <a:rPr lang="en-US" sz="2000" dirty="0"/>
              <a:t>MISO’s Gas Pipeline Notifications Website provides regional insight into pipeline operating conditions</a:t>
            </a:r>
          </a:p>
          <a:p>
            <a:pPr marL="457200" indent="-457200">
              <a:buAutoNum type="arabicParenR"/>
            </a:pPr>
            <a:r>
              <a:rPr lang="en-US" sz="2000" dirty="0"/>
              <a:t>Fuel Impact Report: At Risk Units</a:t>
            </a:r>
          </a:p>
          <a:p>
            <a:pPr marL="457200" indent="-457200">
              <a:buAutoNum type="arabicParenR"/>
            </a:pPr>
            <a:r>
              <a:rPr lang="en-US" sz="2000" dirty="0"/>
              <a:t>Control Room Electric/Gas Pipeline Real Time Display</a:t>
            </a:r>
          </a:p>
          <a:p>
            <a:pPr marL="457200" indent="-457200">
              <a:buAutoNum type="arabicParenR"/>
            </a:pPr>
            <a:r>
              <a:rPr lang="en-US" sz="2000" dirty="0"/>
              <a:t>Gas Usage Profiles Project</a:t>
            </a:r>
          </a:p>
          <a:p>
            <a:pPr marL="457200" indent="-457200">
              <a:buAutoNum type="arabicParenR"/>
            </a:pPr>
            <a:r>
              <a:rPr lang="en-US" sz="2000" dirty="0"/>
              <a:t>MISO Winter Generator Survey</a:t>
            </a:r>
          </a:p>
          <a:p>
            <a:pPr marL="457200" indent="-457200">
              <a:buAutoNum type="arabicParenR"/>
            </a:pPr>
            <a:r>
              <a:rPr lang="en-US" sz="2000" dirty="0"/>
              <a:t>Generator-Pipeline Database Upgrade</a:t>
            </a:r>
          </a:p>
          <a:p>
            <a:pPr marL="817191" lvl="2" indent="-457200">
              <a:buFont typeface="+mj-lt"/>
              <a:buAutoNum type="alphaLcParenR"/>
            </a:pPr>
            <a:r>
              <a:rPr lang="en-US" sz="1733" dirty="0"/>
              <a:t>MISO now has complete database of pipeline connections and dual fuel capability for all gas generato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8B5EF2-1AB5-4584-82A9-BB9707F3D6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PLWG July 20, 2021</a:t>
            </a:r>
          </a:p>
        </p:txBody>
      </p:sp>
    </p:spTree>
    <p:extLst>
      <p:ext uri="{BB962C8B-B14F-4D97-AF65-F5344CB8AC3E}">
        <p14:creationId xmlns:p14="http://schemas.microsoft.com/office/powerpoint/2010/main" val="272216336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538FB1-119A-4CDD-86CB-ABD34748FB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0259" y="3382038"/>
            <a:ext cx="3365500" cy="1969963"/>
          </a:xfrm>
        </p:spPr>
        <p:txBody>
          <a:bodyPr/>
          <a:lstStyle/>
          <a:p>
            <a:r>
              <a:rPr lang="en-US" dirty="0"/>
              <a:t>Ideas Presented at SAW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AAE06A-E44F-4146-A447-2D56067B9B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7597D3-A832-4741-9A40-55D5BF465C6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597150" y="6319838"/>
            <a:ext cx="9594850" cy="227012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/>
              <a:t>| US Offshore Wind - 24 June 2019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15086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C268D1-5659-49CF-B8D2-B096D67A53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61949" y="6323280"/>
            <a:ext cx="9593887" cy="225767"/>
          </a:xfrm>
        </p:spPr>
        <p:txBody>
          <a:bodyPr/>
          <a:lstStyle/>
          <a:p>
            <a:pPr>
              <a:tabLst>
                <a:tab pos="1318651" algn="l"/>
              </a:tabLst>
            </a:pPr>
            <a:r>
              <a:rPr lang="fr-FR" dirty="0"/>
              <a:t>| PLWG July 20, 2021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F3B6FD4-B9C9-4856-A4CE-E30D74008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changes to the ERCOT Process initially made at the April 23, 2021 SAWG meeting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1B29700D-C563-41D4-83C4-5920FB68A1C6}"/>
              </a:ext>
            </a:extLst>
          </p:cNvPr>
          <p:cNvSpPr txBox="1">
            <a:spLocks/>
          </p:cNvSpPr>
          <p:nvPr/>
        </p:nvSpPr>
        <p:spPr>
          <a:xfrm>
            <a:off x="575734" y="1411289"/>
            <a:ext cx="8636846" cy="4431983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400" b="1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2133">
                <a:solidFill>
                  <a:schemeClr val="tx1"/>
                </a:solidFill>
                <a:latin typeface="+mn-lt"/>
                <a:ea typeface="+mn-ea"/>
              </a:defRPr>
            </a:lvl2pPr>
            <a:lvl3pPr marL="359991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133">
                <a:solidFill>
                  <a:schemeClr val="tx1"/>
                </a:solidFill>
                <a:latin typeface="+mn-lt"/>
                <a:ea typeface="+mn-ea"/>
              </a:defRPr>
            </a:lvl3pPr>
            <a:lvl4pPr marL="719982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2133">
                <a:solidFill>
                  <a:schemeClr val="tx1"/>
                </a:solidFill>
                <a:latin typeface="+mn-lt"/>
                <a:ea typeface="+mn-ea"/>
              </a:defRPr>
            </a:lvl4pPr>
            <a:lvl5pPr marL="1079973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Arial" panose="020B0604020202020204" pitchFamily="34" charset="0"/>
              <a:buChar char="◦"/>
              <a:defRPr sz="2133">
                <a:solidFill>
                  <a:schemeClr val="tx1"/>
                </a:solidFill>
                <a:latin typeface="+mn-lt"/>
                <a:ea typeface="+mn-ea"/>
              </a:defRPr>
            </a:lvl5pPr>
            <a:lvl6pPr marL="0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6pPr>
            <a:lvl7pPr marL="719982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lphaL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7pPr>
            <a:lvl8pPr marL="1079973" indent="-359991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romanLcPeriod"/>
              <a:defRPr sz="2133">
                <a:solidFill>
                  <a:schemeClr val="tx1"/>
                </a:solidFill>
                <a:latin typeface="+mn-lt"/>
                <a:ea typeface="+mn-ea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ts val="1600"/>
              </a:spcAft>
              <a:buClr>
                <a:schemeClr val="tx1"/>
              </a:buClr>
              <a:buFontTx/>
              <a:buNone/>
              <a:defRPr sz="32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marL="342900" indent="-342900">
              <a:buFont typeface="+mj-lt"/>
              <a:buAutoNum type="arabicParenR"/>
            </a:pPr>
            <a:r>
              <a:rPr lang="en-US" sz="1400" b="0" kern="0" dirty="0">
                <a:solidFill>
                  <a:srgbClr val="000000"/>
                </a:solidFill>
              </a:rPr>
              <a:t>Temperature impacts on generating capability, auxiliary loads on power plants, and load forecasts</a:t>
            </a:r>
          </a:p>
          <a:p>
            <a:pPr marL="702891" lvl="2" indent="-342900">
              <a:buFont typeface="+mj-lt"/>
              <a:buAutoNum type="alphaLcParenR"/>
            </a:pPr>
            <a:r>
              <a:rPr lang="en-US" sz="1200" b="0" kern="0" dirty="0">
                <a:solidFill>
                  <a:srgbClr val="000000"/>
                </a:solidFill>
              </a:rPr>
              <a:t>Capabilities of power plants with HSL and LSL capabilities every 10 degrees Fahrenheit from 0 to 130</a:t>
            </a:r>
          </a:p>
          <a:p>
            <a:pPr marL="702891" lvl="2" indent="-342900">
              <a:buFont typeface="+mj-lt"/>
              <a:buAutoNum type="alphaLcParenR"/>
            </a:pPr>
            <a:r>
              <a:rPr lang="en-US" sz="1200" b="0" kern="0" dirty="0">
                <a:solidFill>
                  <a:srgbClr val="000000"/>
                </a:solidFill>
              </a:rPr>
              <a:t>Auxiliary load at power plants at each 10 degrees as well</a:t>
            </a:r>
          </a:p>
          <a:p>
            <a:pPr marL="702891" lvl="2" indent="-342900">
              <a:buFont typeface="+mj-lt"/>
              <a:buAutoNum type="alphaLcParenR"/>
            </a:pPr>
            <a:r>
              <a:rPr lang="en-US" sz="1200" dirty="0">
                <a:solidFill>
                  <a:srgbClr val="000000"/>
                </a:solidFill>
              </a:rPr>
              <a:t>In CDR and SARA, each season would includes the span of historical temperatures from 1950 to 2021 (and ongoing) that have impact the ERCOT market. For instance, winter may be 0 to 90 degrees.</a:t>
            </a:r>
          </a:p>
          <a:p>
            <a:pPr marL="702891" lvl="2" indent="-342900">
              <a:buFont typeface="+mj-lt"/>
              <a:buAutoNum type="alphaLcParenR"/>
            </a:pPr>
            <a:r>
              <a:rPr lang="en-US" sz="1200" dirty="0">
                <a:solidFill>
                  <a:srgbClr val="000000"/>
                </a:solidFill>
              </a:rPr>
              <a:t>The weighting would be based on historical locational loads per the load forecasting team at ERCOT.</a:t>
            </a:r>
          </a:p>
          <a:p>
            <a:pPr marL="702891" lvl="2" indent="-342900">
              <a:buFont typeface="+mj-lt"/>
              <a:buAutoNum type="alphaLcParenR"/>
            </a:pPr>
            <a:r>
              <a:rPr lang="en-US" sz="1200" dirty="0">
                <a:solidFill>
                  <a:srgbClr val="000000"/>
                </a:solidFill>
              </a:rPr>
              <a:t>Load forecast using the temperatures and the historical weather year that represents the worst case scenarios</a:t>
            </a:r>
            <a:endParaRPr lang="en-US" sz="1200" b="0" kern="0" dirty="0">
              <a:solidFill>
                <a:srgbClr val="000000"/>
              </a:solidFill>
            </a:endParaRPr>
          </a:p>
          <a:p>
            <a:pPr marL="342900" indent="-342900">
              <a:buFont typeface="+mj-lt"/>
              <a:buAutoNum type="arabicParenR"/>
            </a:pPr>
            <a:r>
              <a:rPr lang="en-US" sz="1400" b="0" kern="0" dirty="0">
                <a:solidFill>
                  <a:srgbClr val="000000"/>
                </a:solidFill>
              </a:rPr>
              <a:t>Powerplant access to pipelines and types of natural gas contracts</a:t>
            </a:r>
          </a:p>
          <a:p>
            <a:pPr marL="702891" lvl="2" indent="-342900">
              <a:buFont typeface="+mj-lt"/>
              <a:buAutoNum type="alphaLcParenR"/>
            </a:pPr>
            <a:r>
              <a:rPr lang="en-US" sz="1200" b="0" kern="0" dirty="0">
                <a:solidFill>
                  <a:srgbClr val="000000"/>
                </a:solidFill>
              </a:rPr>
              <a:t>Number of pipelines to plants and type of contracts (Firm/Interruptible) available on those pipelines</a:t>
            </a:r>
          </a:p>
          <a:p>
            <a:pPr marL="702891" lvl="2" indent="-342900">
              <a:buFont typeface="+mj-lt"/>
              <a:buAutoNum type="alphaLcParenR"/>
            </a:pPr>
            <a:r>
              <a:rPr lang="en-US" sz="1200" dirty="0">
                <a:solidFill>
                  <a:srgbClr val="000000"/>
                </a:solidFill>
              </a:rPr>
              <a:t>IN CDR and SARA, incorporate details of percentage of gas power plants with none, one, or two or more pipelines with Firm contract capability</a:t>
            </a:r>
          </a:p>
          <a:p>
            <a:pPr marL="252909" lvl="1" indent="-342900">
              <a:buFont typeface="+mj-lt"/>
              <a:buAutoNum type="arabicParenR" startAt="2"/>
            </a:pPr>
            <a:endParaRPr lang="en-US" sz="900" kern="0" dirty="0">
              <a:solidFill>
                <a:srgbClr val="000000"/>
              </a:solidFill>
            </a:endParaRPr>
          </a:p>
          <a:p>
            <a:pPr marL="342900" lvl="1" indent="-342900">
              <a:buFont typeface="+mj-lt"/>
              <a:buAutoNum type="arabicParenR" startAt="2"/>
            </a:pPr>
            <a:endParaRPr lang="en-US" sz="1100" kern="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15541033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284756-9923-4DA6-939D-470E1B7AF2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989013" algn="l"/>
              </a:tabLst>
            </a:pPr>
            <a:r>
              <a:rPr lang="fr-FR" dirty="0"/>
              <a:t>| PLWG July 20, 202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89DB9B-CDE1-44F8-ADFF-EA66B19D0C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Example of topics for new SARA and CD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3763602-7BF3-42C9-A4E7-9EFBAC6E64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7906" y="793142"/>
            <a:ext cx="8474759" cy="5271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7797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ImiNBu_67wj26AiD_b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sFaiqDTT6svidrKYeK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quhikHP3.xVhqP1Kk5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xF9eqlzQ1LRvijNsZc8w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US NG_2018 PPT_Energy Lines Template 16x9 [Read-Only]" id="{4657108C-CAD3-44AC-B13C-CD074A2E51E8}" vid="{35BB5C37-5BE8-43BF-9925-D45D04A5B4D7}"/>
    </a:ext>
  </a:extLst>
</a:theme>
</file>

<file path=ppt/theme/theme2.xml><?xml version="1.0" encoding="utf-8"?>
<a:theme xmlns:a="http://schemas.openxmlformats.org/drawingml/2006/main" name="9_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ational Grid_Template 16x9.potx" id="{53D06FB9-EFAE-4603-A05B-77A7D7698A24}" vid="{4E085DDE-8E1E-47DF-B6EC-00DCC59980DE}"/>
    </a:ext>
  </a:extLst>
</a:theme>
</file>

<file path=ppt/theme/theme3.xml><?xml version="1.0" encoding="utf-8"?>
<a:theme xmlns:a="http://schemas.openxmlformats.org/drawingml/2006/main" name="NG_PPT_16x9_Generic_template-blue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NG PowerPoint Template 4x3 2018" id="{CF4301EE-653F-40A0-9CC8-367CE7C89D59}" vid="{D546EC4C-4F19-45E5-8664-8862EDE2613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869357793C9A4E87642B5286C0B123" ma:contentTypeVersion="13" ma:contentTypeDescription="Create a new document." ma:contentTypeScope="" ma:versionID="e8eb37dc4e1875b4bf75f16e593bf62c">
  <xsd:schema xmlns:xsd="http://www.w3.org/2001/XMLSchema" xmlns:xs="http://www.w3.org/2001/XMLSchema" xmlns:p="http://schemas.microsoft.com/office/2006/metadata/properties" xmlns:ns3="0b055304-a416-47d7-886f-48e64f8aca3d" xmlns:ns4="2727f632-0a1c-4f76-af18-104c18ac79e0" targetNamespace="http://schemas.microsoft.com/office/2006/metadata/properties" ma:root="true" ma:fieldsID="bfd1aec947a965091232a56cad9d3f26" ns3:_="" ns4:_="">
    <xsd:import namespace="0b055304-a416-47d7-886f-48e64f8aca3d"/>
    <xsd:import namespace="2727f632-0a1c-4f76-af18-104c18ac79e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055304-a416-47d7-886f-48e64f8aca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27f632-0a1c-4f76-af18-104c18ac79e0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0E618D-6082-4E11-B944-FA5B40C067D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B536FC8-3D9E-4DF5-B4E7-C013335082E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27C5349A-688F-487E-B384-9D0787DF8A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055304-a416-47d7-886f-48e64f8aca3d"/>
    <ds:schemaRef ds:uri="2727f632-0a1c-4f76-af18-104c18ac79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96</TotalTime>
  <Words>655</Words>
  <Application>Microsoft Office PowerPoint</Application>
  <PresentationFormat>Widescreen</PresentationFormat>
  <Paragraphs>76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Arial</vt:lpstr>
      <vt:lpstr>Calibri</vt:lpstr>
      <vt:lpstr>Symbol</vt:lpstr>
      <vt:lpstr>Wingdings</vt:lpstr>
      <vt:lpstr>US NG_2018 PPT__EnergyLines Template 16x9</vt:lpstr>
      <vt:lpstr>9_NG_PPT_16x9_Generic_template-blue</vt:lpstr>
      <vt:lpstr>NG_PPT_16x9_Generic_template-blue</vt:lpstr>
      <vt:lpstr>think-cell Slide</vt:lpstr>
      <vt:lpstr>Lessons from MISO and other ideas  Planning Working Group</vt:lpstr>
      <vt:lpstr>Why do we need to do something? Weather is getting more volatile.</vt:lpstr>
      <vt:lpstr>PowerPoint Presentation</vt:lpstr>
      <vt:lpstr>Projects Midwest ISO has done to improve the planning process</vt:lpstr>
      <vt:lpstr>Projects Midwest ISO has done to improve the planning process</vt:lpstr>
      <vt:lpstr>Projects MISO has done to improve the non-planning process</vt:lpstr>
      <vt:lpstr>PowerPoint Presentation</vt:lpstr>
      <vt:lpstr>Potential changes to the ERCOT Process initially made at the April 23, 2021 SAWG meeting</vt:lpstr>
      <vt:lpstr>Example of topics for new SARA and CDR</vt:lpstr>
      <vt:lpstr>PowerPoint Presentation</vt:lpstr>
      <vt:lpstr>Proposed Planning Cases</vt:lpstr>
      <vt:lpstr>PowerPoint Presentation</vt:lpstr>
      <vt:lpstr>Description of Initia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velopment plan</dc:title>
  <dc:creator>Maddock, Kerri</dc:creator>
  <cp:lastModifiedBy>Hanson, Kevin</cp:lastModifiedBy>
  <cp:revision>71</cp:revision>
  <dcterms:created xsi:type="dcterms:W3CDTF">2019-06-11T18:01:06Z</dcterms:created>
  <dcterms:modified xsi:type="dcterms:W3CDTF">2021-07-09T16:0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  <property fmtid="{D5CDD505-2E9C-101B-9397-08002B2CF9AE}" pid="7" name="ContentTypeId">
    <vt:lpwstr>0x010100D4869357793C9A4E87642B5286C0B123</vt:lpwstr>
  </property>
</Properties>
</file>